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48" r:id="rId10"/>
    <p:sldMasterId id="2147483877" r:id="rId11"/>
    <p:sldMasterId id="2147483909" r:id="rId12"/>
    <p:sldMasterId id="2147483940" r:id="rId13"/>
  </p:sldMasterIdLst>
  <p:notesMasterIdLst>
    <p:notesMasterId r:id="rId70"/>
  </p:notesMasterIdLst>
  <p:sldIdLst>
    <p:sldId id="8346" r:id="rId14"/>
    <p:sldId id="1580" r:id="rId15"/>
    <p:sldId id="312" r:id="rId16"/>
    <p:sldId id="9921" r:id="rId17"/>
    <p:sldId id="9959" r:id="rId18"/>
    <p:sldId id="4479" r:id="rId19"/>
    <p:sldId id="4539" r:id="rId20"/>
    <p:sldId id="4547" r:id="rId21"/>
    <p:sldId id="1882" r:id="rId22"/>
    <p:sldId id="4529" r:id="rId23"/>
    <p:sldId id="4510" r:id="rId24"/>
    <p:sldId id="1566" r:id="rId25"/>
    <p:sldId id="8344" r:id="rId26"/>
    <p:sldId id="4552" r:id="rId27"/>
    <p:sldId id="2315" r:id="rId28"/>
    <p:sldId id="267" r:id="rId29"/>
    <p:sldId id="268" r:id="rId30"/>
    <p:sldId id="269" r:id="rId31"/>
    <p:sldId id="1551" r:id="rId32"/>
    <p:sldId id="2792" r:id="rId33"/>
    <p:sldId id="2793" r:id="rId34"/>
    <p:sldId id="275" r:id="rId35"/>
    <p:sldId id="276" r:id="rId36"/>
    <p:sldId id="2794" r:id="rId37"/>
    <p:sldId id="2316" r:id="rId38"/>
    <p:sldId id="4554" r:id="rId39"/>
    <p:sldId id="2319" r:id="rId40"/>
    <p:sldId id="1843" r:id="rId41"/>
    <p:sldId id="8219" r:id="rId42"/>
    <p:sldId id="2318" r:id="rId43"/>
    <p:sldId id="307" r:id="rId44"/>
    <p:sldId id="8221" r:id="rId45"/>
    <p:sldId id="8220" r:id="rId46"/>
    <p:sldId id="4481" r:id="rId47"/>
    <p:sldId id="1727" r:id="rId48"/>
    <p:sldId id="409" r:id="rId49"/>
    <p:sldId id="3716" r:id="rId50"/>
    <p:sldId id="3719" r:id="rId51"/>
    <p:sldId id="4502" r:id="rId52"/>
    <p:sldId id="4501" r:id="rId53"/>
    <p:sldId id="4499" r:id="rId54"/>
    <p:sldId id="8343" r:id="rId55"/>
    <p:sldId id="4512" r:id="rId56"/>
    <p:sldId id="4500" r:id="rId57"/>
    <p:sldId id="302" r:id="rId58"/>
    <p:sldId id="4506" r:id="rId59"/>
    <p:sldId id="4507" r:id="rId60"/>
    <p:sldId id="8338" r:id="rId61"/>
    <p:sldId id="8339" r:id="rId62"/>
    <p:sldId id="8333" r:id="rId63"/>
    <p:sldId id="4513" r:id="rId64"/>
    <p:sldId id="4514" r:id="rId65"/>
    <p:sldId id="4515" r:id="rId66"/>
    <p:sldId id="340" r:id="rId67"/>
    <p:sldId id="273" r:id="rId68"/>
    <p:sldId id="4556" r:id="rId6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Lst>
        </p14:section>
        <p14:section name="Azure Governance" id="{89003D9B-AC4A-41DA-BF9A-35157AAFE2EE}">
          <p14:sldIdLst>
            <p14:sldId id="312"/>
            <p14:sldId id="9921"/>
            <p14:sldId id="9959"/>
            <p14:sldId id="4479"/>
            <p14:sldId id="4539"/>
            <p14:sldId id="4547"/>
          </p14:sldIdLst>
        </p14:section>
        <p14:section name="Management Groups" id="{52CC2FB9-7908-4315-B293-7C95D3678284}">
          <p14:sldIdLst>
            <p14:sldId id="1882"/>
            <p14:sldId id="4529"/>
            <p14:sldId id="4510"/>
            <p14:sldId id="1566"/>
          </p14:sldIdLst>
        </p14:section>
        <p14:section name="RBAC" id="{B7B48116-9E3F-43A4-B581-FCA5BE2D952D}">
          <p14:sldIdLst>
            <p14:sldId id="8344"/>
            <p14:sldId id="4552"/>
          </p14:sldIdLst>
        </p14:section>
        <p14:section name="Azure Policies" id="{ADBDE13F-CC59-478B-8FC4-EE994FBB435F}">
          <p14:sldIdLst>
            <p14:sldId id="2315"/>
            <p14:sldId id="267"/>
            <p14:sldId id="268"/>
            <p14:sldId id="269"/>
            <p14:sldId id="1551"/>
            <p14:sldId id="2792"/>
            <p14:sldId id="2793"/>
            <p14:sldId id="275"/>
            <p14:sldId id="276"/>
            <p14:sldId id="2794"/>
            <p14:sldId id="2316"/>
            <p14:sldId id="4554"/>
            <p14:sldId id="2319"/>
          </p14:sldIdLst>
        </p14:section>
        <p14:section name="BluePrints" id="{5E74F7D6-A16C-4BBE-897C-D004DED3303A}">
          <p14:sldIdLst>
            <p14:sldId id="1843"/>
            <p14:sldId id="8219"/>
            <p14:sldId id="2318"/>
            <p14:sldId id="307"/>
            <p14:sldId id="8221"/>
            <p14:sldId id="8220"/>
          </p14:sldIdLst>
        </p14:section>
        <p14:section name="Resource Graph" id="{C5D7245D-3152-499D-BF78-0CBB4F2A7BF5}">
          <p14:sldIdLst>
            <p14:sldId id="4481"/>
          </p14:sldIdLst>
        </p14:section>
        <p14:section name="Cost Management" id="{A34C947A-EBB5-4C7C-8741-A927FA6C1C0E}">
          <p14:sldIdLst>
            <p14:sldId id="1727"/>
            <p14:sldId id="409"/>
            <p14:sldId id="3716"/>
            <p14:sldId id="3719"/>
            <p14:sldId id="4502"/>
            <p14:sldId id="4501"/>
            <p14:sldId id="4499"/>
            <p14:sldId id="8343"/>
            <p14:sldId id="4512"/>
            <p14:sldId id="4500"/>
            <p14:sldId id="302"/>
            <p14:sldId id="4506"/>
            <p14:sldId id="4507"/>
            <p14:sldId id="8338"/>
            <p14:sldId id="8339"/>
            <p14:sldId id="8333"/>
            <p14:sldId id="4513"/>
            <p14:sldId id="4514"/>
            <p14:sldId id="4515"/>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79482" autoAdjust="0"/>
  </p:normalViewPr>
  <p:slideViewPr>
    <p:cSldViewPr snapToGrid="0">
      <p:cViewPr varScale="1">
        <p:scale>
          <a:sx n="87" d="100"/>
          <a:sy n="87" d="100"/>
        </p:scale>
        <p:origin x="915" y="58"/>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905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9050" cap="rnd"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9050" cap="rnd"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03.12.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3/2019 11:01 A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3</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14</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6</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29</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2/3/2019 11:0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6</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3/2019 11: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3/2019 11:0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12/3/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2019 11:0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12/3/2019</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12/3/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12/3/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78083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1996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218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theme" Target="../theme/theme10.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image" Target="../media/image39.pn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theme" Target="../theme/theme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theme" Target="../theme/theme8.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theme" Target="../theme/theme9.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image" Target="../media/image2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3/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12/3/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29"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4" r:id="rId25"/>
    <p:sldLayoutId id="2147483875" r:id="rId26"/>
    <p:sldLayoutId id="2147483876" r:id="rId27"/>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0.xml"/><Relationship Id="rId4" Type="http://schemas.openxmlformats.org/officeDocument/2006/relationships/image" Target="../media/image7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9.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svg"/><Relationship Id="rId2" Type="http://schemas.openxmlformats.org/officeDocument/2006/relationships/notesSlide" Target="../notesSlides/notesSlide12.xml"/><Relationship Id="rId1" Type="http://schemas.openxmlformats.org/officeDocument/2006/relationships/slideLayout" Target="../slideLayouts/slideLayout184.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67.xml"/><Relationship Id="rId6" Type="http://schemas.openxmlformats.org/officeDocument/2006/relationships/image" Target="../media/image86.png"/><Relationship Id="rId5" Type="http://schemas.openxmlformats.org/officeDocument/2006/relationships/image" Target="../media/image85.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88.png"/><Relationship Id="rId5" Type="http://schemas.openxmlformats.org/officeDocument/2006/relationships/image" Target="../media/image85.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9.png"/><Relationship Id="rId7"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image" Target="../media/image86.png"/><Relationship Id="rId5" Type="http://schemas.openxmlformats.org/officeDocument/2006/relationships/image" Target="../media/image88.png"/><Relationship Id="rId4" Type="http://schemas.openxmlformats.org/officeDocument/2006/relationships/image" Target="../media/image9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8.xml"/></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259.xml"/></Relationships>
</file>

<file path=ppt/slides/_rels/slide27.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25.xml"/><Relationship Id="rId1" Type="http://schemas.openxmlformats.org/officeDocument/2006/relationships/slideLayout" Target="../slideLayouts/slideLayout243.xml"/></Relationships>
</file>

<file path=ppt/slides/_rels/slide28.xml.rels><?xml version="1.0" encoding="UTF-8" standalone="yes"?>
<Relationships xmlns="http://schemas.openxmlformats.org/package/2006/relationships"><Relationship Id="rId3" Type="http://schemas.openxmlformats.org/officeDocument/2006/relationships/image" Target="../media/image95.svg"/><Relationship Id="rId7" Type="http://schemas.openxmlformats.org/officeDocument/2006/relationships/image" Target="../media/image99.svg"/><Relationship Id="rId2" Type="http://schemas.openxmlformats.org/officeDocument/2006/relationships/image" Target="../media/image94.png"/><Relationship Id="rId1" Type="http://schemas.openxmlformats.org/officeDocument/2006/relationships/slideLayout" Target="../slideLayouts/slideLayout260.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254.xml"/><Relationship Id="rId6" Type="http://schemas.microsoft.com/office/2007/relationships/hdphoto" Target="../media/hdphoto2.wdp"/><Relationship Id="rId5" Type="http://schemas.openxmlformats.org/officeDocument/2006/relationships/image" Target="../media/image102.png"/><Relationship Id="rId4" Type="http://schemas.openxmlformats.org/officeDocument/2006/relationships/image" Target="../media/image101.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261.xml"/><Relationship Id="rId6" Type="http://schemas.openxmlformats.org/officeDocument/2006/relationships/image" Target="../media/image95.svg"/><Relationship Id="rId5" Type="http://schemas.openxmlformats.org/officeDocument/2006/relationships/image" Target="../media/image105.png"/><Relationship Id="rId4" Type="http://schemas.openxmlformats.org/officeDocument/2006/relationships/image" Target="../media/image104.svg"/></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130.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254.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png"/></Relationships>
</file>

<file path=ppt/slides/_rels/slide35.xml.rels><?xml version="1.0" encoding="UTF-8" standalone="yes"?>
<Relationships xmlns="http://schemas.openxmlformats.org/package/2006/relationships"><Relationship Id="rId3" Type="http://schemas.openxmlformats.org/officeDocument/2006/relationships/image" Target="../media/image118.emf"/><Relationship Id="rId7" Type="http://schemas.openxmlformats.org/officeDocument/2006/relationships/image" Target="../media/image76.svg"/><Relationship Id="rId2" Type="http://schemas.openxmlformats.org/officeDocument/2006/relationships/notesSlide" Target="../notesSlides/notesSlide30.xml"/><Relationship Id="rId1" Type="http://schemas.openxmlformats.org/officeDocument/2006/relationships/slideLayout" Target="../slideLayouts/slideLayout242.xml"/><Relationship Id="rId6" Type="http://schemas.openxmlformats.org/officeDocument/2006/relationships/image" Target="../media/image75.png"/><Relationship Id="rId5" Type="http://schemas.openxmlformats.org/officeDocument/2006/relationships/image" Target="../media/image120.png"/><Relationship Id="rId4" Type="http://schemas.openxmlformats.org/officeDocument/2006/relationships/image" Target="../media/image119.emf"/></Relationships>
</file>

<file path=ppt/slides/_rels/slide3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1.xml"/><Relationship Id="rId1" Type="http://schemas.openxmlformats.org/officeDocument/2006/relationships/slideLayout" Target="../slideLayouts/slideLayout26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22.png"/></Relationships>
</file>

<file path=ppt/slides/_rels/slide37.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image" Target="../media/image118.emf"/><Relationship Id="rId1" Type="http://schemas.openxmlformats.org/officeDocument/2006/relationships/slideLayout" Target="../slideLayouts/slideLayout26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20.png"/></Relationships>
</file>

<file path=ppt/slides/_rels/slide38.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121.png"/><Relationship Id="rId7"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262.xml"/><Relationship Id="rId6" Type="http://schemas.openxmlformats.org/officeDocument/2006/relationships/image" Target="../media/image122.png"/><Relationship Id="rId5" Type="http://schemas.openxmlformats.org/officeDocument/2006/relationships/image" Target="../media/image124.png"/><Relationship Id="rId4" Type="http://schemas.openxmlformats.org/officeDocument/2006/relationships/image" Target="../media/image123.png"/></Relationships>
</file>

<file path=ppt/slides/_rels/slide39.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1.png"/><Relationship Id="rId7" Type="http://schemas.openxmlformats.org/officeDocument/2006/relationships/image" Target="../media/image127.png"/><Relationship Id="rId12" Type="http://schemas.openxmlformats.org/officeDocument/2006/relationships/image" Target="../media/image76.svg"/><Relationship Id="rId2" Type="http://schemas.openxmlformats.org/officeDocument/2006/relationships/notesSlide" Target="../notesSlides/notesSlide33.xml"/><Relationship Id="rId1" Type="http://schemas.openxmlformats.org/officeDocument/2006/relationships/slideLayout" Target="../slideLayouts/slideLayout262.xml"/><Relationship Id="rId6" Type="http://schemas.openxmlformats.org/officeDocument/2006/relationships/image" Target="../media/image126.png"/><Relationship Id="rId11" Type="http://schemas.openxmlformats.org/officeDocument/2006/relationships/image" Target="../media/image75.png"/><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2.png"/><Relationship Id="rId9" Type="http://schemas.openxmlformats.org/officeDocument/2006/relationships/image" Target="../media/image129.png"/></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3.xml"/><Relationship Id="rId1" Type="http://schemas.openxmlformats.org/officeDocument/2006/relationships/slideLayout" Target="../slideLayouts/slideLayout26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4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21.png"/><Relationship Id="rId1" Type="http://schemas.openxmlformats.org/officeDocument/2006/relationships/slideLayout" Target="../slideLayouts/slideLayout26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32.png"/></Relationships>
</file>

<file path=ppt/slides/_rels/slide4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21.png"/><Relationship Id="rId1" Type="http://schemas.openxmlformats.org/officeDocument/2006/relationships/slideLayout" Target="../slideLayouts/slideLayout242.xml"/><Relationship Id="rId5" Type="http://schemas.openxmlformats.org/officeDocument/2006/relationships/image" Target="../media/image76.svg"/><Relationship Id="rId4" Type="http://schemas.openxmlformats.org/officeDocument/2006/relationships/image" Target="../media/image75.png"/></Relationships>
</file>

<file path=ppt/slides/_rels/slide4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62.xml"/><Relationship Id="rId4" Type="http://schemas.openxmlformats.org/officeDocument/2006/relationships/image" Target="../media/image134.png"/></Relationships>
</file>

<file path=ppt/slides/_rels/slide43.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136.svg"/><Relationship Id="rId7" Type="http://schemas.openxmlformats.org/officeDocument/2006/relationships/image" Target="../media/image140.svg"/><Relationship Id="rId2" Type="http://schemas.openxmlformats.org/officeDocument/2006/relationships/image" Target="../media/image135.png"/><Relationship Id="rId1" Type="http://schemas.openxmlformats.org/officeDocument/2006/relationships/slideLayout" Target="../slideLayouts/slideLayout260.xml"/><Relationship Id="rId6" Type="http://schemas.openxmlformats.org/officeDocument/2006/relationships/image" Target="../media/image139.png"/><Relationship Id="rId5" Type="http://schemas.openxmlformats.org/officeDocument/2006/relationships/image" Target="../media/image138.svg"/><Relationship Id="rId4" Type="http://schemas.openxmlformats.org/officeDocument/2006/relationships/image" Target="../media/image137.png"/><Relationship Id="rId9" Type="http://schemas.openxmlformats.org/officeDocument/2006/relationships/image" Target="../media/image76.svg"/></Relationships>
</file>

<file path=ppt/slides/_rels/slide4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21.png"/><Relationship Id="rId1" Type="http://schemas.openxmlformats.org/officeDocument/2006/relationships/slideLayout" Target="../slideLayouts/slideLayout262.xml"/><Relationship Id="rId4" Type="http://schemas.openxmlformats.org/officeDocument/2006/relationships/image" Target="../media/image142.png"/></Relationships>
</file>

<file path=ppt/slides/_rels/slide4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4.xml"/><Relationship Id="rId1" Type="http://schemas.openxmlformats.org/officeDocument/2006/relationships/slideLayout" Target="../slideLayouts/slideLayout263.xml"/><Relationship Id="rId5" Type="http://schemas.openxmlformats.org/officeDocument/2006/relationships/image" Target="../media/image76.svg"/><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262.xml"/><Relationship Id="rId4" Type="http://schemas.openxmlformats.org/officeDocument/2006/relationships/image" Target="../media/image144.em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64.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4.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6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50.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64.xml"/></Relationships>
</file>

<file path=ppt/slides/_rels/slide51.x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image" Target="../media/image148.emf"/><Relationship Id="rId1" Type="http://schemas.openxmlformats.org/officeDocument/2006/relationships/slideLayout" Target="../slideLayouts/slideLayout260.xml"/><Relationship Id="rId4" Type="http://schemas.openxmlformats.org/officeDocument/2006/relationships/image" Target="../media/image150.emf"/></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1.png"/><Relationship Id="rId1" Type="http://schemas.openxmlformats.org/officeDocument/2006/relationships/slideLayout" Target="../slideLayouts/slideLayout260.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5.xml"/><Relationship Id="rId1" Type="http://schemas.openxmlformats.org/officeDocument/2006/relationships/slideLayout" Target="../slideLayouts/slideLayout265.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6.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242.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5.xml"/></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254.xml"/><Relationship Id="rId5" Type="http://schemas.openxmlformats.org/officeDocument/2006/relationships/image" Target="../media/image71.sv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endParaRPr lang="en-US">
              <a:solidFill>
                <a:srgbClr val="FFFFFF"/>
              </a:solidFill>
              <a:cs typeface="+mn-cs"/>
            </a:endParaRP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14</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Resource Locks</a:t>
            </a:r>
          </a:p>
          <a:p>
            <a:pPr marL="457200" indent="-457200">
              <a:buFont typeface="Wingdings" panose="05000000000000000000" pitchFamily="2" charset="2"/>
              <a:buChar char="Ø"/>
            </a:pPr>
            <a:r>
              <a:rPr lang="en-US" sz="3200" dirty="0"/>
              <a:t>Azure Policy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68080" y="76200"/>
            <a:ext cx="11655840" cy="899665"/>
          </a:xfrm>
        </p:spPr>
        <p:txBody>
          <a:bodyPr/>
          <a:lstStyle/>
          <a:p>
            <a:r>
              <a:rPr lang="en-US" sz="4400" dirty="0"/>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a:solidFill>
                  <a:schemeClr val="tx1"/>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a:srcRect l="9653" t="13059" b="5891"/>
          <a:stretch/>
        </p:blipFill>
        <p:spPr>
          <a:xfrm>
            <a:off x="5970007" y="584857"/>
            <a:ext cx="5633729" cy="5683250"/>
          </a:xfrm>
          <a:prstGeom prst="rect">
            <a:avLst/>
          </a:prstGeom>
          <a:blipFill>
            <a:blip r:embed="rId3"/>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9.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3.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06</TotalTime>
  <Words>6290</Words>
  <Application>Microsoft Office PowerPoint</Application>
  <PresentationFormat>Widescreen</PresentationFormat>
  <Paragraphs>830</Paragraphs>
  <Slides>56</Slides>
  <Notes>36</Notes>
  <HiddenSlides>0</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6</vt:i4>
      </vt:variant>
    </vt:vector>
  </HeadingPairs>
  <TitlesOfParts>
    <vt:vector size="83"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3_Services4x3</vt:lpstr>
      <vt:lpstr>1_Services4x3</vt:lpstr>
      <vt:lpstr>1_5-50195_Microsoft_Build_Template</vt:lpstr>
      <vt:lpstr>Facet</vt:lpstr>
      <vt:lpstr>think-cell Slide</vt:lpstr>
      <vt:lpstr>Azure Governance</vt:lpstr>
      <vt:lpstr>Azure Governance Workshop - Agenda</vt:lpstr>
      <vt:lpstr>Why is Governance needed?</vt:lpstr>
      <vt:lpstr>Traditional Approach to Control</vt:lpstr>
      <vt:lpstr>Speed + Control</vt:lpstr>
      <vt:lpstr>Governance for the cloud </vt:lpstr>
      <vt:lpstr>Azure Governance Architecture</vt:lpstr>
      <vt:lpstr>aka.ms/GovernanceDocs -or- docs.microsoft.com/azure/governance</vt:lpstr>
      <vt:lpstr>Introducing Azure Management Groups</vt:lpstr>
      <vt:lpstr>PowerPoint Presentation</vt:lpstr>
      <vt:lpstr>Management Groups to organize subscriptions </vt:lpstr>
      <vt:lpstr>Department/Account Setup Methodology</vt:lpstr>
      <vt:lpstr>Azure Role-Based Access Control (RBAC)</vt:lpstr>
      <vt:lpstr>Resource Lock</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PowerPoint Presentation</vt:lpstr>
      <vt:lpstr>Introducing Azure Blueprints solution</vt:lpstr>
      <vt:lpstr>Azure Blueprints</vt:lpstr>
      <vt:lpstr>How it works</vt:lpstr>
      <vt:lpstr>Customer requested scenarios </vt:lpstr>
      <vt:lpstr>PowerPoint Presentation</vt:lpstr>
      <vt:lpstr>Azure Resource Graph </vt:lpstr>
      <vt:lpstr>Keys to accountability</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3</cp:revision>
  <dcterms:created xsi:type="dcterms:W3CDTF">2019-05-10T10:01:57Z</dcterms:created>
  <dcterms:modified xsi:type="dcterms:W3CDTF">2019-12-03T13:2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